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3" r:id="rId8"/>
    <p:sldId id="284" r:id="rId9"/>
  </p:sldIdLst>
  <p:sldSz cx="9144000" cy="6858000" type="screen4x3"/>
  <p:notesSz cx="6797675" cy="9926638"/>
  <p:embeddedFontLst>
    <p:embeddedFont>
      <p:font typeface="Technika-Bold" panose="00000600000000000000" charset="-18"/>
      <p:regular r:id="rId10"/>
    </p:embeddedFont>
    <p:embeddedFont>
      <p:font typeface="Technika" panose="020B0604020202020204" charset="-18"/>
      <p:regular r:id="rId11"/>
      <p:bold r:id="rId12"/>
      <p:italic r:id="rId13"/>
      <p:boldItalic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>
        <p:scale>
          <a:sx n="150" d="100"/>
          <a:sy n="150" d="100"/>
        </p:scale>
        <p:origin x="1818" y="396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tags" Target="../tags/tag97.xml"/><Relationship Id="rId102" Type="http://schemas.openxmlformats.org/officeDocument/2006/relationships/tags" Target="../tags/tag112.xml"/><Relationship Id="rId110" Type="http://schemas.openxmlformats.org/officeDocument/2006/relationships/image" Target="../media/image1.emf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1.xml"/><Relationship Id="rId7" Type="http://schemas.openxmlformats.org/officeDocument/2006/relationships/image" Target="../media/image8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rch 1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614580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an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pen source CASA application in C++ 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Rewrite it to Java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riginal</a:t>
            </a: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Development should be prioritized (not all parts are vital)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27549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795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emes and documents describing the structure and functions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vering the development and code of the created Java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891108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 whole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8"/>
          <p:cNvGrpSpPr>
            <a:grpSpLocks noChangeAspect="1"/>
          </p:cNvGrpSpPr>
          <p:nvPr/>
        </p:nvGrpSpPr>
        <p:grpSpPr bwMode="auto">
          <a:xfrm>
            <a:off x="1239395" y="2760378"/>
            <a:ext cx="893203" cy="760413"/>
            <a:chOff x="799" y="1854"/>
            <a:chExt cx="713" cy="607"/>
          </a:xfrm>
          <a:solidFill>
            <a:srgbClr val="4472C4"/>
          </a:solidFill>
        </p:grpSpPr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1109" y="1854"/>
              <a:ext cx="110" cy="109"/>
            </a:xfrm>
            <a:custGeom>
              <a:avLst/>
              <a:gdLst>
                <a:gd name="T0" fmla="*/ 274 w 548"/>
                <a:gd name="T1" fmla="*/ 0 h 548"/>
                <a:gd name="T2" fmla="*/ 314 w 548"/>
                <a:gd name="T3" fmla="*/ 3 h 548"/>
                <a:gd name="T4" fmla="*/ 353 w 548"/>
                <a:gd name="T5" fmla="*/ 12 h 548"/>
                <a:gd name="T6" fmla="*/ 389 w 548"/>
                <a:gd name="T7" fmla="*/ 25 h 548"/>
                <a:gd name="T8" fmla="*/ 422 w 548"/>
                <a:gd name="T9" fmla="*/ 44 h 548"/>
                <a:gd name="T10" fmla="*/ 454 w 548"/>
                <a:gd name="T11" fmla="*/ 67 h 548"/>
                <a:gd name="T12" fmla="*/ 481 w 548"/>
                <a:gd name="T13" fmla="*/ 94 h 548"/>
                <a:gd name="T14" fmla="*/ 503 w 548"/>
                <a:gd name="T15" fmla="*/ 125 h 548"/>
                <a:gd name="T16" fmla="*/ 522 w 548"/>
                <a:gd name="T17" fmla="*/ 158 h 548"/>
                <a:gd name="T18" fmla="*/ 536 w 548"/>
                <a:gd name="T19" fmla="*/ 195 h 548"/>
                <a:gd name="T20" fmla="*/ 545 w 548"/>
                <a:gd name="T21" fmla="*/ 233 h 548"/>
                <a:gd name="T22" fmla="*/ 548 w 548"/>
                <a:gd name="T23" fmla="*/ 274 h 548"/>
                <a:gd name="T24" fmla="*/ 545 w 548"/>
                <a:gd name="T25" fmla="*/ 314 h 548"/>
                <a:gd name="T26" fmla="*/ 536 w 548"/>
                <a:gd name="T27" fmla="*/ 353 h 548"/>
                <a:gd name="T28" fmla="*/ 522 w 548"/>
                <a:gd name="T29" fmla="*/ 389 h 548"/>
                <a:gd name="T30" fmla="*/ 503 w 548"/>
                <a:gd name="T31" fmla="*/ 422 h 548"/>
                <a:gd name="T32" fmla="*/ 481 w 548"/>
                <a:gd name="T33" fmla="*/ 454 h 548"/>
                <a:gd name="T34" fmla="*/ 454 w 548"/>
                <a:gd name="T35" fmla="*/ 481 h 548"/>
                <a:gd name="T36" fmla="*/ 422 w 548"/>
                <a:gd name="T37" fmla="*/ 503 h 548"/>
                <a:gd name="T38" fmla="*/ 389 w 548"/>
                <a:gd name="T39" fmla="*/ 522 h 548"/>
                <a:gd name="T40" fmla="*/ 353 w 548"/>
                <a:gd name="T41" fmla="*/ 536 h 548"/>
                <a:gd name="T42" fmla="*/ 314 w 548"/>
                <a:gd name="T43" fmla="*/ 544 h 548"/>
                <a:gd name="T44" fmla="*/ 274 w 548"/>
                <a:gd name="T45" fmla="*/ 548 h 548"/>
                <a:gd name="T46" fmla="*/ 233 w 548"/>
                <a:gd name="T47" fmla="*/ 544 h 548"/>
                <a:gd name="T48" fmla="*/ 195 w 548"/>
                <a:gd name="T49" fmla="*/ 536 h 548"/>
                <a:gd name="T50" fmla="*/ 158 w 548"/>
                <a:gd name="T51" fmla="*/ 522 h 548"/>
                <a:gd name="T52" fmla="*/ 125 w 548"/>
                <a:gd name="T53" fmla="*/ 503 h 548"/>
                <a:gd name="T54" fmla="*/ 95 w 548"/>
                <a:gd name="T55" fmla="*/ 481 h 548"/>
                <a:gd name="T56" fmla="*/ 67 w 548"/>
                <a:gd name="T57" fmla="*/ 454 h 548"/>
                <a:gd name="T58" fmla="*/ 45 w 548"/>
                <a:gd name="T59" fmla="*/ 422 h 548"/>
                <a:gd name="T60" fmla="*/ 25 w 548"/>
                <a:gd name="T61" fmla="*/ 389 h 548"/>
                <a:gd name="T62" fmla="*/ 12 w 548"/>
                <a:gd name="T63" fmla="*/ 353 h 548"/>
                <a:gd name="T64" fmla="*/ 4 w 548"/>
                <a:gd name="T65" fmla="*/ 314 h 548"/>
                <a:gd name="T66" fmla="*/ 0 w 548"/>
                <a:gd name="T67" fmla="*/ 274 h 548"/>
                <a:gd name="T68" fmla="*/ 4 w 548"/>
                <a:gd name="T69" fmla="*/ 233 h 548"/>
                <a:gd name="T70" fmla="*/ 12 w 548"/>
                <a:gd name="T71" fmla="*/ 195 h 548"/>
                <a:gd name="T72" fmla="*/ 25 w 548"/>
                <a:gd name="T73" fmla="*/ 158 h 548"/>
                <a:gd name="T74" fmla="*/ 45 w 548"/>
                <a:gd name="T75" fmla="*/ 125 h 548"/>
                <a:gd name="T76" fmla="*/ 67 w 548"/>
                <a:gd name="T77" fmla="*/ 94 h 548"/>
                <a:gd name="T78" fmla="*/ 95 w 548"/>
                <a:gd name="T79" fmla="*/ 67 h 548"/>
                <a:gd name="T80" fmla="*/ 125 w 548"/>
                <a:gd name="T81" fmla="*/ 44 h 548"/>
                <a:gd name="T82" fmla="*/ 158 w 548"/>
                <a:gd name="T83" fmla="*/ 25 h 548"/>
                <a:gd name="T84" fmla="*/ 195 w 548"/>
                <a:gd name="T85" fmla="*/ 12 h 548"/>
                <a:gd name="T86" fmla="*/ 233 w 548"/>
                <a:gd name="T87" fmla="*/ 3 h 548"/>
                <a:gd name="T88" fmla="*/ 274 w 548"/>
                <a:gd name="T8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8" h="548"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8" y="274"/>
                  </a:lnTo>
                  <a:lnTo>
                    <a:pt x="545" y="314"/>
                  </a:lnTo>
                  <a:lnTo>
                    <a:pt x="536" y="353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2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2"/>
                  </a:lnTo>
                  <a:lnTo>
                    <a:pt x="25" y="389"/>
                  </a:lnTo>
                  <a:lnTo>
                    <a:pt x="12" y="353"/>
                  </a:lnTo>
                  <a:lnTo>
                    <a:pt x="4" y="314"/>
                  </a:lnTo>
                  <a:lnTo>
                    <a:pt x="0" y="274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"/>
            <p:cNvSpPr>
              <a:spLocks noEditPoints="1"/>
            </p:cNvSpPr>
            <p:nvPr/>
          </p:nvSpPr>
          <p:spPr bwMode="auto">
            <a:xfrm>
              <a:off x="861" y="2096"/>
              <a:ext cx="110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0 w 547"/>
                <a:gd name="T7" fmla="*/ 206 h 548"/>
                <a:gd name="T8" fmla="*/ 79 w 547"/>
                <a:gd name="T9" fmla="*/ 274 h 548"/>
                <a:gd name="T10" fmla="*/ 90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3 w 547"/>
                <a:gd name="T37" fmla="*/ 0 h 548"/>
                <a:gd name="T38" fmla="*/ 352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2 w 547"/>
                <a:gd name="T57" fmla="*/ 536 h 548"/>
                <a:gd name="T58" fmla="*/ 273 w 547"/>
                <a:gd name="T59" fmla="*/ 548 h 548"/>
                <a:gd name="T60" fmla="*/ 194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4 w 547"/>
                <a:gd name="T79" fmla="*/ 12 h 548"/>
                <a:gd name="T80" fmla="*/ 273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3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0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0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3" y="469"/>
                  </a:lnTo>
                  <a:lnTo>
                    <a:pt x="308" y="465"/>
                  </a:lnTo>
                  <a:lnTo>
                    <a:pt x="341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1" y="91"/>
                  </a:lnTo>
                  <a:lnTo>
                    <a:pt x="308" y="82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3" y="3"/>
                  </a:lnTo>
                  <a:lnTo>
                    <a:pt x="352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2" y="536"/>
                  </a:lnTo>
                  <a:lnTo>
                    <a:pt x="313" y="544"/>
                  </a:lnTo>
                  <a:lnTo>
                    <a:pt x="273" y="548"/>
                  </a:lnTo>
                  <a:lnTo>
                    <a:pt x="233" y="544"/>
                  </a:lnTo>
                  <a:lnTo>
                    <a:pt x="194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1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1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4" y="12"/>
                  </a:lnTo>
                  <a:lnTo>
                    <a:pt x="233" y="3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2"/>
            <p:cNvSpPr>
              <a:spLocks noEditPoints="1"/>
            </p:cNvSpPr>
            <p:nvPr/>
          </p:nvSpPr>
          <p:spPr bwMode="auto">
            <a:xfrm>
              <a:off x="1109" y="2096"/>
              <a:ext cx="110" cy="109"/>
            </a:xfrm>
            <a:custGeom>
              <a:avLst/>
              <a:gdLst>
                <a:gd name="T0" fmla="*/ 239 w 548"/>
                <a:gd name="T1" fmla="*/ 82 h 548"/>
                <a:gd name="T2" fmla="*/ 176 w 548"/>
                <a:gd name="T3" fmla="*/ 106 h 548"/>
                <a:gd name="T4" fmla="*/ 125 w 548"/>
                <a:gd name="T5" fmla="*/ 148 h 548"/>
                <a:gd name="T6" fmla="*/ 91 w 548"/>
                <a:gd name="T7" fmla="*/ 206 h 548"/>
                <a:gd name="T8" fmla="*/ 79 w 548"/>
                <a:gd name="T9" fmla="*/ 274 h 548"/>
                <a:gd name="T10" fmla="*/ 91 w 548"/>
                <a:gd name="T11" fmla="*/ 342 h 548"/>
                <a:gd name="T12" fmla="*/ 125 w 548"/>
                <a:gd name="T13" fmla="*/ 399 h 548"/>
                <a:gd name="T14" fmla="*/ 176 w 548"/>
                <a:gd name="T15" fmla="*/ 442 h 548"/>
                <a:gd name="T16" fmla="*/ 238 w 548"/>
                <a:gd name="T17" fmla="*/ 465 h 548"/>
                <a:gd name="T18" fmla="*/ 309 w 548"/>
                <a:gd name="T19" fmla="*/ 465 h 548"/>
                <a:gd name="T20" fmla="*/ 373 w 548"/>
                <a:gd name="T21" fmla="*/ 442 h 548"/>
                <a:gd name="T22" fmla="*/ 422 w 548"/>
                <a:gd name="T23" fmla="*/ 399 h 548"/>
                <a:gd name="T24" fmla="*/ 456 w 548"/>
                <a:gd name="T25" fmla="*/ 342 h 548"/>
                <a:gd name="T26" fmla="*/ 469 w 548"/>
                <a:gd name="T27" fmla="*/ 274 h 548"/>
                <a:gd name="T28" fmla="*/ 456 w 548"/>
                <a:gd name="T29" fmla="*/ 206 h 548"/>
                <a:gd name="T30" fmla="*/ 422 w 548"/>
                <a:gd name="T31" fmla="*/ 148 h 548"/>
                <a:gd name="T32" fmla="*/ 373 w 548"/>
                <a:gd name="T33" fmla="*/ 106 h 548"/>
                <a:gd name="T34" fmla="*/ 309 w 548"/>
                <a:gd name="T35" fmla="*/ 82 h 548"/>
                <a:gd name="T36" fmla="*/ 274 w 548"/>
                <a:gd name="T37" fmla="*/ 0 h 548"/>
                <a:gd name="T38" fmla="*/ 353 w 548"/>
                <a:gd name="T39" fmla="*/ 12 h 548"/>
                <a:gd name="T40" fmla="*/ 422 w 548"/>
                <a:gd name="T41" fmla="*/ 44 h 548"/>
                <a:gd name="T42" fmla="*/ 481 w 548"/>
                <a:gd name="T43" fmla="*/ 94 h 548"/>
                <a:gd name="T44" fmla="*/ 522 w 548"/>
                <a:gd name="T45" fmla="*/ 159 h 548"/>
                <a:gd name="T46" fmla="*/ 545 w 548"/>
                <a:gd name="T47" fmla="*/ 234 h 548"/>
                <a:gd name="T48" fmla="*/ 545 w 548"/>
                <a:gd name="T49" fmla="*/ 315 h 548"/>
                <a:gd name="T50" fmla="*/ 522 w 548"/>
                <a:gd name="T51" fmla="*/ 390 h 548"/>
                <a:gd name="T52" fmla="*/ 481 w 548"/>
                <a:gd name="T53" fmla="*/ 454 h 548"/>
                <a:gd name="T54" fmla="*/ 422 w 548"/>
                <a:gd name="T55" fmla="*/ 503 h 548"/>
                <a:gd name="T56" fmla="*/ 353 w 548"/>
                <a:gd name="T57" fmla="*/ 536 h 548"/>
                <a:gd name="T58" fmla="*/ 274 w 548"/>
                <a:gd name="T59" fmla="*/ 548 h 548"/>
                <a:gd name="T60" fmla="*/ 195 w 548"/>
                <a:gd name="T61" fmla="*/ 536 h 548"/>
                <a:gd name="T62" fmla="*/ 125 w 548"/>
                <a:gd name="T63" fmla="*/ 503 h 548"/>
                <a:gd name="T64" fmla="*/ 67 w 548"/>
                <a:gd name="T65" fmla="*/ 454 h 548"/>
                <a:gd name="T66" fmla="*/ 25 w 548"/>
                <a:gd name="T67" fmla="*/ 390 h 548"/>
                <a:gd name="T68" fmla="*/ 4 w 548"/>
                <a:gd name="T69" fmla="*/ 315 h 548"/>
                <a:gd name="T70" fmla="*/ 4 w 548"/>
                <a:gd name="T71" fmla="*/ 234 h 548"/>
                <a:gd name="T72" fmla="*/ 25 w 548"/>
                <a:gd name="T73" fmla="*/ 159 h 548"/>
                <a:gd name="T74" fmla="*/ 67 w 548"/>
                <a:gd name="T75" fmla="*/ 94 h 548"/>
                <a:gd name="T76" fmla="*/ 125 w 548"/>
                <a:gd name="T77" fmla="*/ 44 h 548"/>
                <a:gd name="T78" fmla="*/ 195 w 548"/>
                <a:gd name="T79" fmla="*/ 12 h 548"/>
                <a:gd name="T80" fmla="*/ 274 w 548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8">
                  <a:moveTo>
                    <a:pt x="274" y="79"/>
                  </a:moveTo>
                  <a:lnTo>
                    <a:pt x="239" y="82"/>
                  </a:lnTo>
                  <a:lnTo>
                    <a:pt x="206" y="91"/>
                  </a:lnTo>
                  <a:lnTo>
                    <a:pt x="176" y="106"/>
                  </a:lnTo>
                  <a:lnTo>
                    <a:pt x="149" y="126"/>
                  </a:lnTo>
                  <a:lnTo>
                    <a:pt x="125" y="148"/>
                  </a:lnTo>
                  <a:lnTo>
                    <a:pt x="105" y="175"/>
                  </a:lnTo>
                  <a:lnTo>
                    <a:pt x="91" y="206"/>
                  </a:lnTo>
                  <a:lnTo>
                    <a:pt x="83" y="239"/>
                  </a:lnTo>
                  <a:lnTo>
                    <a:pt x="79" y="274"/>
                  </a:lnTo>
                  <a:lnTo>
                    <a:pt x="83" y="310"/>
                  </a:lnTo>
                  <a:lnTo>
                    <a:pt x="91" y="342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9" y="423"/>
                  </a:lnTo>
                  <a:lnTo>
                    <a:pt x="176" y="442"/>
                  </a:lnTo>
                  <a:lnTo>
                    <a:pt x="206" y="457"/>
                  </a:lnTo>
                  <a:lnTo>
                    <a:pt x="238" y="465"/>
                  </a:lnTo>
                  <a:lnTo>
                    <a:pt x="274" y="469"/>
                  </a:lnTo>
                  <a:lnTo>
                    <a:pt x="309" y="465"/>
                  </a:lnTo>
                  <a:lnTo>
                    <a:pt x="342" y="457"/>
                  </a:lnTo>
                  <a:lnTo>
                    <a:pt x="373" y="442"/>
                  </a:lnTo>
                  <a:lnTo>
                    <a:pt x="400" y="423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2"/>
                  </a:lnTo>
                  <a:lnTo>
                    <a:pt x="466" y="310"/>
                  </a:lnTo>
                  <a:lnTo>
                    <a:pt x="469" y="274"/>
                  </a:lnTo>
                  <a:lnTo>
                    <a:pt x="466" y="239"/>
                  </a:lnTo>
                  <a:lnTo>
                    <a:pt x="456" y="206"/>
                  </a:lnTo>
                  <a:lnTo>
                    <a:pt x="442" y="175"/>
                  </a:lnTo>
                  <a:lnTo>
                    <a:pt x="422" y="148"/>
                  </a:lnTo>
                  <a:lnTo>
                    <a:pt x="400" y="126"/>
                  </a:lnTo>
                  <a:lnTo>
                    <a:pt x="373" y="106"/>
                  </a:lnTo>
                  <a:lnTo>
                    <a:pt x="342" y="91"/>
                  </a:lnTo>
                  <a:lnTo>
                    <a:pt x="309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6"/>
                  </a:lnTo>
                  <a:lnTo>
                    <a:pt x="522" y="159"/>
                  </a:lnTo>
                  <a:lnTo>
                    <a:pt x="536" y="195"/>
                  </a:lnTo>
                  <a:lnTo>
                    <a:pt x="545" y="234"/>
                  </a:lnTo>
                  <a:lnTo>
                    <a:pt x="548" y="274"/>
                  </a:lnTo>
                  <a:lnTo>
                    <a:pt x="545" y="315"/>
                  </a:lnTo>
                  <a:lnTo>
                    <a:pt x="536" y="353"/>
                  </a:lnTo>
                  <a:lnTo>
                    <a:pt x="522" y="390"/>
                  </a:lnTo>
                  <a:lnTo>
                    <a:pt x="503" y="423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3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3"/>
                  </a:lnTo>
                  <a:lnTo>
                    <a:pt x="25" y="390"/>
                  </a:lnTo>
                  <a:lnTo>
                    <a:pt x="12" y="353"/>
                  </a:lnTo>
                  <a:lnTo>
                    <a:pt x="4" y="315"/>
                  </a:lnTo>
                  <a:lnTo>
                    <a:pt x="0" y="274"/>
                  </a:lnTo>
                  <a:lnTo>
                    <a:pt x="4" y="234"/>
                  </a:lnTo>
                  <a:lnTo>
                    <a:pt x="12" y="195"/>
                  </a:lnTo>
                  <a:lnTo>
                    <a:pt x="25" y="159"/>
                  </a:lnTo>
                  <a:lnTo>
                    <a:pt x="45" y="126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6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"/>
            <p:cNvSpPr>
              <a:spLocks noEditPoints="1"/>
            </p:cNvSpPr>
            <p:nvPr/>
          </p:nvSpPr>
          <p:spPr bwMode="auto">
            <a:xfrm>
              <a:off x="1344" y="2096"/>
              <a:ext cx="109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1 w 547"/>
                <a:gd name="T7" fmla="*/ 206 h 548"/>
                <a:gd name="T8" fmla="*/ 79 w 547"/>
                <a:gd name="T9" fmla="*/ 274 h 548"/>
                <a:gd name="T10" fmla="*/ 91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4 w 547"/>
                <a:gd name="T37" fmla="*/ 0 h 548"/>
                <a:gd name="T38" fmla="*/ 353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3 w 547"/>
                <a:gd name="T57" fmla="*/ 536 h 548"/>
                <a:gd name="T58" fmla="*/ 274 w 547"/>
                <a:gd name="T59" fmla="*/ 548 h 548"/>
                <a:gd name="T60" fmla="*/ 195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5 w 547"/>
                <a:gd name="T79" fmla="*/ 12 h 548"/>
                <a:gd name="T80" fmla="*/ 274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4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1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1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4" y="469"/>
                  </a:lnTo>
                  <a:lnTo>
                    <a:pt x="308" y="465"/>
                  </a:lnTo>
                  <a:lnTo>
                    <a:pt x="342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2" y="91"/>
                  </a:lnTo>
                  <a:lnTo>
                    <a:pt x="308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4" y="544"/>
                  </a:lnTo>
                  <a:lnTo>
                    <a:pt x="195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2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2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5" y="12"/>
                  </a:lnTo>
                  <a:lnTo>
                    <a:pt x="234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4"/>
            <p:cNvSpPr>
              <a:spLocks noEditPoints="1"/>
            </p:cNvSpPr>
            <p:nvPr/>
          </p:nvSpPr>
          <p:spPr bwMode="auto">
            <a:xfrm>
              <a:off x="799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5 w 547"/>
                <a:gd name="T3" fmla="*/ 105 h 547"/>
                <a:gd name="T4" fmla="*/ 124 w 547"/>
                <a:gd name="T5" fmla="*/ 149 h 547"/>
                <a:gd name="T6" fmla="*/ 91 w 547"/>
                <a:gd name="T7" fmla="*/ 206 h 547"/>
                <a:gd name="T8" fmla="*/ 79 w 547"/>
                <a:gd name="T9" fmla="*/ 273 h 547"/>
                <a:gd name="T10" fmla="*/ 91 w 547"/>
                <a:gd name="T11" fmla="*/ 341 h 547"/>
                <a:gd name="T12" fmla="*/ 124 w 547"/>
                <a:gd name="T13" fmla="*/ 399 h 547"/>
                <a:gd name="T14" fmla="*/ 175 w 547"/>
                <a:gd name="T15" fmla="*/ 442 h 547"/>
                <a:gd name="T16" fmla="*/ 239 w 547"/>
                <a:gd name="T17" fmla="*/ 466 h 547"/>
                <a:gd name="T18" fmla="*/ 308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7 w 547"/>
                <a:gd name="T25" fmla="*/ 341 h 547"/>
                <a:gd name="T26" fmla="*/ 468 w 547"/>
                <a:gd name="T27" fmla="*/ 273 h 547"/>
                <a:gd name="T28" fmla="*/ 457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8 w 547"/>
                <a:gd name="T35" fmla="*/ 81 h 547"/>
                <a:gd name="T36" fmla="*/ 274 w 547"/>
                <a:gd name="T37" fmla="*/ 0 h 547"/>
                <a:gd name="T38" fmla="*/ 353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1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1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3 w 547"/>
                <a:gd name="T57" fmla="*/ 536 h 547"/>
                <a:gd name="T58" fmla="*/ 274 w 547"/>
                <a:gd name="T59" fmla="*/ 547 h 547"/>
                <a:gd name="T60" fmla="*/ 195 w 547"/>
                <a:gd name="T61" fmla="*/ 536 h 547"/>
                <a:gd name="T62" fmla="*/ 124 w 547"/>
                <a:gd name="T63" fmla="*/ 504 h 547"/>
                <a:gd name="T64" fmla="*/ 67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7 w 547"/>
                <a:gd name="T75" fmla="*/ 94 h 547"/>
                <a:gd name="T76" fmla="*/ 124 w 547"/>
                <a:gd name="T77" fmla="*/ 44 h 547"/>
                <a:gd name="T78" fmla="*/ 195 w 547"/>
                <a:gd name="T79" fmla="*/ 11 h 547"/>
                <a:gd name="T80" fmla="*/ 274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4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1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1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1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4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 noEditPoints="1"/>
            </p:cNvSpPr>
            <p:nvPr/>
          </p:nvSpPr>
          <p:spPr bwMode="auto">
            <a:xfrm>
              <a:off x="916" y="2351"/>
              <a:ext cx="110" cy="110"/>
            </a:xfrm>
            <a:custGeom>
              <a:avLst/>
              <a:gdLst>
                <a:gd name="T0" fmla="*/ 239 w 548"/>
                <a:gd name="T1" fmla="*/ 81 h 547"/>
                <a:gd name="T2" fmla="*/ 177 w 548"/>
                <a:gd name="T3" fmla="*/ 105 h 547"/>
                <a:gd name="T4" fmla="*/ 126 w 548"/>
                <a:gd name="T5" fmla="*/ 149 h 547"/>
                <a:gd name="T6" fmla="*/ 92 w 548"/>
                <a:gd name="T7" fmla="*/ 206 h 547"/>
                <a:gd name="T8" fmla="*/ 79 w 548"/>
                <a:gd name="T9" fmla="*/ 273 h 547"/>
                <a:gd name="T10" fmla="*/ 92 w 548"/>
                <a:gd name="T11" fmla="*/ 341 h 547"/>
                <a:gd name="T12" fmla="*/ 126 w 548"/>
                <a:gd name="T13" fmla="*/ 399 h 547"/>
                <a:gd name="T14" fmla="*/ 176 w 548"/>
                <a:gd name="T15" fmla="*/ 442 h 547"/>
                <a:gd name="T16" fmla="*/ 239 w 548"/>
                <a:gd name="T17" fmla="*/ 466 h 547"/>
                <a:gd name="T18" fmla="*/ 310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10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3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3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6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4 w 548"/>
                <a:gd name="T69" fmla="*/ 314 h 547"/>
                <a:gd name="T70" fmla="*/ 4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6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7" y="91"/>
                  </a:lnTo>
                  <a:lnTo>
                    <a:pt x="177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7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10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10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5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3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3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5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6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4" y="314"/>
                  </a:lnTo>
                  <a:lnTo>
                    <a:pt x="0" y="273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6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 noEditPoints="1"/>
            </p:cNvSpPr>
            <p:nvPr/>
          </p:nvSpPr>
          <p:spPr bwMode="auto">
            <a:xfrm>
              <a:off x="1051" y="2351"/>
              <a:ext cx="109" cy="110"/>
            </a:xfrm>
            <a:custGeom>
              <a:avLst/>
              <a:gdLst>
                <a:gd name="T0" fmla="*/ 239 w 548"/>
                <a:gd name="T1" fmla="*/ 81 h 547"/>
                <a:gd name="T2" fmla="*/ 175 w 548"/>
                <a:gd name="T3" fmla="*/ 105 h 547"/>
                <a:gd name="T4" fmla="*/ 126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6 w 548"/>
                <a:gd name="T13" fmla="*/ 399 h 547"/>
                <a:gd name="T14" fmla="*/ 175 w 548"/>
                <a:gd name="T15" fmla="*/ 442 h 547"/>
                <a:gd name="T16" fmla="*/ 239 w 548"/>
                <a:gd name="T17" fmla="*/ 466 h 547"/>
                <a:gd name="T18" fmla="*/ 309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09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auto">
            <a:xfrm>
              <a:off x="1168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1 w 547"/>
                <a:gd name="T7" fmla="*/ 206 h 547"/>
                <a:gd name="T8" fmla="*/ 78 w 547"/>
                <a:gd name="T9" fmla="*/ 273 h 547"/>
                <a:gd name="T10" fmla="*/ 91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2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2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2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5 w 547"/>
                <a:gd name="T47" fmla="*/ 233 h 547"/>
                <a:gd name="T48" fmla="*/ 545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2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5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5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5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5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9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8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9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1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1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4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4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7" y="273"/>
                  </a:lnTo>
                  <a:lnTo>
                    <a:pt x="545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4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4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1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1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auto">
            <a:xfrm>
              <a:off x="1285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2 w 547"/>
                <a:gd name="T7" fmla="*/ 206 h 547"/>
                <a:gd name="T8" fmla="*/ 79 w 547"/>
                <a:gd name="T9" fmla="*/ 273 h 547"/>
                <a:gd name="T10" fmla="*/ 92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4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4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5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5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4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4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 noEditPoints="1"/>
            </p:cNvSpPr>
            <p:nvPr/>
          </p:nvSpPr>
          <p:spPr bwMode="auto">
            <a:xfrm>
              <a:off x="1402" y="2351"/>
              <a:ext cx="110" cy="110"/>
            </a:xfrm>
            <a:custGeom>
              <a:avLst/>
              <a:gdLst>
                <a:gd name="T0" fmla="*/ 238 w 548"/>
                <a:gd name="T1" fmla="*/ 81 h 547"/>
                <a:gd name="T2" fmla="*/ 175 w 548"/>
                <a:gd name="T3" fmla="*/ 105 h 547"/>
                <a:gd name="T4" fmla="*/ 125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5 w 548"/>
                <a:gd name="T13" fmla="*/ 399 h 547"/>
                <a:gd name="T14" fmla="*/ 175 w 548"/>
                <a:gd name="T15" fmla="*/ 442 h 547"/>
                <a:gd name="T16" fmla="*/ 238 w 548"/>
                <a:gd name="T17" fmla="*/ 466 h 547"/>
                <a:gd name="T18" fmla="*/ 308 w 548"/>
                <a:gd name="T19" fmla="*/ 466 h 547"/>
                <a:gd name="T20" fmla="*/ 371 w 548"/>
                <a:gd name="T21" fmla="*/ 442 h 547"/>
                <a:gd name="T22" fmla="*/ 422 w 548"/>
                <a:gd name="T23" fmla="*/ 399 h 547"/>
                <a:gd name="T24" fmla="*/ 456 w 548"/>
                <a:gd name="T25" fmla="*/ 341 h 547"/>
                <a:gd name="T26" fmla="*/ 469 w 548"/>
                <a:gd name="T27" fmla="*/ 273 h 547"/>
                <a:gd name="T28" fmla="*/ 456 w 548"/>
                <a:gd name="T29" fmla="*/ 206 h 547"/>
                <a:gd name="T30" fmla="*/ 422 w 548"/>
                <a:gd name="T31" fmla="*/ 149 h 547"/>
                <a:gd name="T32" fmla="*/ 371 w 548"/>
                <a:gd name="T33" fmla="*/ 105 h 547"/>
                <a:gd name="T34" fmla="*/ 308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2 w 548"/>
                <a:gd name="T41" fmla="*/ 44 h 547"/>
                <a:gd name="T42" fmla="*/ 479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79 w 548"/>
                <a:gd name="T53" fmla="*/ 453 h 547"/>
                <a:gd name="T54" fmla="*/ 422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5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5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8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5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8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1" y="456"/>
                  </a:lnTo>
                  <a:lnTo>
                    <a:pt x="371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1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1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1" y="105"/>
                  </a:lnTo>
                  <a:lnTo>
                    <a:pt x="341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79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79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891" y="1984"/>
              <a:ext cx="536" cy="96"/>
            </a:xfrm>
            <a:custGeom>
              <a:avLst/>
              <a:gdLst>
                <a:gd name="T0" fmla="*/ 1337 w 2682"/>
                <a:gd name="T1" fmla="*/ 0 h 479"/>
                <a:gd name="T2" fmla="*/ 1398 w 2682"/>
                <a:gd name="T3" fmla="*/ 0 h 479"/>
                <a:gd name="T4" fmla="*/ 1398 w 2682"/>
                <a:gd name="T5" fmla="*/ 141 h 479"/>
                <a:gd name="T6" fmla="*/ 2682 w 2682"/>
                <a:gd name="T7" fmla="*/ 141 h 479"/>
                <a:gd name="T8" fmla="*/ 2682 w 2682"/>
                <a:gd name="T9" fmla="*/ 479 h 479"/>
                <a:gd name="T10" fmla="*/ 2618 w 2682"/>
                <a:gd name="T11" fmla="*/ 479 h 479"/>
                <a:gd name="T12" fmla="*/ 2618 w 2682"/>
                <a:gd name="T13" fmla="*/ 205 h 479"/>
                <a:gd name="T14" fmla="*/ 1398 w 2682"/>
                <a:gd name="T15" fmla="*/ 205 h 479"/>
                <a:gd name="T16" fmla="*/ 1398 w 2682"/>
                <a:gd name="T17" fmla="*/ 479 h 479"/>
                <a:gd name="T18" fmla="*/ 1336 w 2682"/>
                <a:gd name="T19" fmla="*/ 479 h 479"/>
                <a:gd name="T20" fmla="*/ 1336 w 2682"/>
                <a:gd name="T21" fmla="*/ 205 h 479"/>
                <a:gd name="T22" fmla="*/ 62 w 2682"/>
                <a:gd name="T23" fmla="*/ 205 h 479"/>
                <a:gd name="T24" fmla="*/ 62 w 2682"/>
                <a:gd name="T25" fmla="*/ 479 h 479"/>
                <a:gd name="T26" fmla="*/ 0 w 2682"/>
                <a:gd name="T27" fmla="*/ 479 h 479"/>
                <a:gd name="T28" fmla="*/ 0 w 2682"/>
                <a:gd name="T29" fmla="*/ 141 h 479"/>
                <a:gd name="T30" fmla="*/ 1337 w 2682"/>
                <a:gd name="T31" fmla="*/ 141 h 479"/>
                <a:gd name="T32" fmla="*/ 1337 w 2682"/>
                <a:gd name="T3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2" h="479">
                  <a:moveTo>
                    <a:pt x="1337" y="0"/>
                  </a:moveTo>
                  <a:lnTo>
                    <a:pt x="1398" y="0"/>
                  </a:lnTo>
                  <a:lnTo>
                    <a:pt x="1398" y="141"/>
                  </a:lnTo>
                  <a:lnTo>
                    <a:pt x="2682" y="141"/>
                  </a:lnTo>
                  <a:lnTo>
                    <a:pt x="2682" y="479"/>
                  </a:lnTo>
                  <a:lnTo>
                    <a:pt x="2618" y="479"/>
                  </a:lnTo>
                  <a:lnTo>
                    <a:pt x="2618" y="205"/>
                  </a:lnTo>
                  <a:lnTo>
                    <a:pt x="1398" y="205"/>
                  </a:lnTo>
                  <a:lnTo>
                    <a:pt x="1398" y="479"/>
                  </a:lnTo>
                  <a:lnTo>
                    <a:pt x="1336" y="479"/>
                  </a:lnTo>
                  <a:lnTo>
                    <a:pt x="1336" y="205"/>
                  </a:lnTo>
                  <a:lnTo>
                    <a:pt x="62" y="205"/>
                  </a:lnTo>
                  <a:lnTo>
                    <a:pt x="62" y="479"/>
                  </a:lnTo>
                  <a:lnTo>
                    <a:pt x="0" y="479"/>
                  </a:lnTo>
                  <a:lnTo>
                    <a:pt x="0" y="141"/>
                  </a:lnTo>
                  <a:lnTo>
                    <a:pt x="1337" y="141"/>
                  </a:lnTo>
                  <a:lnTo>
                    <a:pt x="1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869" y="2237"/>
              <a:ext cx="94" cy="96"/>
            </a:xfrm>
            <a:custGeom>
              <a:avLst/>
              <a:gdLst>
                <a:gd name="T0" fmla="*/ 198 w 467"/>
                <a:gd name="T1" fmla="*/ 0 h 480"/>
                <a:gd name="T2" fmla="*/ 260 w 467"/>
                <a:gd name="T3" fmla="*/ 0 h 480"/>
                <a:gd name="T4" fmla="*/ 260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4 w 467"/>
                <a:gd name="T11" fmla="*/ 480 h 480"/>
                <a:gd name="T12" fmla="*/ 404 w 467"/>
                <a:gd name="T13" fmla="*/ 205 h 480"/>
                <a:gd name="T14" fmla="*/ 62 w 467"/>
                <a:gd name="T15" fmla="*/ 205 h 480"/>
                <a:gd name="T16" fmla="*/ 62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0" y="0"/>
                  </a:lnTo>
                  <a:lnTo>
                    <a:pt x="260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4" y="480"/>
                  </a:lnTo>
                  <a:lnTo>
                    <a:pt x="404" y="205"/>
                  </a:lnTo>
                  <a:lnTo>
                    <a:pt x="62" y="205"/>
                  </a:lnTo>
                  <a:lnTo>
                    <a:pt x="62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1352" y="2237"/>
              <a:ext cx="93" cy="96"/>
            </a:xfrm>
            <a:custGeom>
              <a:avLst/>
              <a:gdLst>
                <a:gd name="T0" fmla="*/ 198 w 467"/>
                <a:gd name="T1" fmla="*/ 0 h 480"/>
                <a:gd name="T2" fmla="*/ 261 w 467"/>
                <a:gd name="T3" fmla="*/ 0 h 480"/>
                <a:gd name="T4" fmla="*/ 261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5 w 467"/>
                <a:gd name="T11" fmla="*/ 480 h 480"/>
                <a:gd name="T12" fmla="*/ 405 w 467"/>
                <a:gd name="T13" fmla="*/ 205 h 480"/>
                <a:gd name="T14" fmla="*/ 63 w 467"/>
                <a:gd name="T15" fmla="*/ 205 h 480"/>
                <a:gd name="T16" fmla="*/ 63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1117" y="2237"/>
              <a:ext cx="94" cy="96"/>
            </a:xfrm>
            <a:custGeom>
              <a:avLst/>
              <a:gdLst>
                <a:gd name="T0" fmla="*/ 197 w 468"/>
                <a:gd name="T1" fmla="*/ 0 h 480"/>
                <a:gd name="T2" fmla="*/ 261 w 468"/>
                <a:gd name="T3" fmla="*/ 0 h 480"/>
                <a:gd name="T4" fmla="*/ 261 w 468"/>
                <a:gd name="T5" fmla="*/ 142 h 480"/>
                <a:gd name="T6" fmla="*/ 468 w 468"/>
                <a:gd name="T7" fmla="*/ 142 h 480"/>
                <a:gd name="T8" fmla="*/ 468 w 468"/>
                <a:gd name="T9" fmla="*/ 480 h 480"/>
                <a:gd name="T10" fmla="*/ 405 w 468"/>
                <a:gd name="T11" fmla="*/ 480 h 480"/>
                <a:gd name="T12" fmla="*/ 405 w 468"/>
                <a:gd name="T13" fmla="*/ 205 h 480"/>
                <a:gd name="T14" fmla="*/ 63 w 468"/>
                <a:gd name="T15" fmla="*/ 205 h 480"/>
                <a:gd name="T16" fmla="*/ 63 w 468"/>
                <a:gd name="T17" fmla="*/ 480 h 480"/>
                <a:gd name="T18" fmla="*/ 0 w 468"/>
                <a:gd name="T19" fmla="*/ 480 h 480"/>
                <a:gd name="T20" fmla="*/ 0 w 468"/>
                <a:gd name="T21" fmla="*/ 142 h 480"/>
                <a:gd name="T22" fmla="*/ 197 w 468"/>
                <a:gd name="T23" fmla="*/ 142 h 480"/>
                <a:gd name="T24" fmla="*/ 197 w 468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80">
                  <a:moveTo>
                    <a:pt x="197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8" y="142"/>
                  </a:lnTo>
                  <a:lnTo>
                    <a:pt x="468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7" y="142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6"/>
          <p:cNvGrpSpPr>
            <a:grpSpLocks noChangeAspect="1"/>
          </p:cNvGrpSpPr>
          <p:nvPr/>
        </p:nvGrpSpPr>
        <p:grpSpPr bwMode="auto">
          <a:xfrm>
            <a:off x="7015842" y="2758791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36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44"/>
          <p:cNvGrpSpPr>
            <a:grpSpLocks noChangeAspect="1"/>
          </p:cNvGrpSpPr>
          <p:nvPr/>
        </p:nvGrpSpPr>
        <p:grpSpPr bwMode="auto">
          <a:xfrm>
            <a:off x="4271987" y="2762709"/>
            <a:ext cx="604210" cy="755752"/>
            <a:chOff x="2724" y="1968"/>
            <a:chExt cx="307" cy="384"/>
          </a:xfrm>
          <a:solidFill>
            <a:srgbClr val="4472C4"/>
          </a:solidFill>
        </p:grpSpPr>
        <p:sp>
          <p:nvSpPr>
            <p:cNvPr id="43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</a:t>
            </a:r>
            <a:r>
              <a:rPr lang="en-US" dirty="0" smtClean="0"/>
              <a:t>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2261068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665</TotalTime>
  <Words>364</Words>
  <Application>Microsoft Office PowerPoint</Application>
  <PresentationFormat>On-screen Show (4:3)</PresentationFormat>
  <Paragraphs>15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Technika-Bold</vt:lpstr>
      <vt:lpstr>Technika</vt:lpstr>
      <vt:lpstr>Calibri</vt:lpstr>
      <vt:lpstr>PowerPoint_CS</vt:lpstr>
      <vt:lpstr>think-cell Slide</vt:lpstr>
      <vt:lpstr>Project CASA: Preliminary Project Review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High-level View</vt:lpstr>
      <vt:lpstr>Full Project 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Szeles Marek</cp:lastModifiedBy>
  <cp:revision>87</cp:revision>
  <cp:lastPrinted>2017-03-01T18:10:55Z</cp:lastPrinted>
  <dcterms:created xsi:type="dcterms:W3CDTF">2016-12-15T15:45:09Z</dcterms:created>
  <dcterms:modified xsi:type="dcterms:W3CDTF">2017-03-01T18:26:23Z</dcterms:modified>
</cp:coreProperties>
</file>